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1"/>
  </p:sldMasterIdLst>
  <p:sldIdLst>
    <p:sldId id="259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104" d="100"/>
          <a:sy n="104" d="100"/>
        </p:scale>
        <p:origin x="182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202785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 March 2021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4C30F51D-9FA0-45FE-8A5F-2C02EAFA2D78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84207532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6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E VANTAGENS</a:t>
                      </a:r>
                      <a:endParaRPr kumimoji="0" lang="pt-B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ÇÃO</a:t>
                      </a:r>
                      <a:endParaRPr kumimoji="0" lang="pt-BR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noProof="1">
                          <a:solidFill>
                            <a:schemeClr val="tx1"/>
                          </a:solidFill>
                          <a:latin typeface="+mn-lt"/>
                        </a:rPr>
                        <a:t>Redução do desvio de fluxo produto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noProof="1">
                          <a:solidFill>
                            <a:schemeClr val="tx1"/>
                          </a:solidFill>
                          <a:latin typeface="+mn-lt"/>
                        </a:rPr>
                        <a:t>Lavagem melhorada do gargalo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noProof="1">
                          <a:solidFill>
                            <a:schemeClr val="tx1"/>
                          </a:solidFill>
                          <a:latin typeface="+mn-lt"/>
                        </a:rPr>
                        <a:t>Risco limitado de resíduo do produto no gargalo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 solução atual com corpo de válvula e êmbolos foi concebida para limitar a formação de espuma no gargal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 nova solução é mais eficaz graças a um corpo de válvula de menor abertura para reduzir o desvio de fluxo</a:t>
                      </a:r>
                    </a:p>
                    <a:p>
                      <a:pPr marL="162000" marR="0" lvl="0" indent="-162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pt-BR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Redução do desvio de fluxo produto</a:t>
            </a:r>
            <a:endParaRPr lang="pt-B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457325"/>
            <a:ext cx="7997825" cy="269875"/>
          </a:xfrm>
        </p:spPr>
        <p:txBody>
          <a:bodyPr vert="horz" lIns="0" tIns="0" rIns="0" bIns="0" rtlCol="0">
            <a:spAutoFit/>
          </a:bodyPr>
          <a:lstStyle/>
          <a:p>
            <a:r>
              <a:rPr sz="1750" dirty="0"/>
              <a:t>Êmbolos modernizados na válvula de enchimento para reduzir o desvio de fluxo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Qualidade do produto, otimização dos custo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amento: Enchedoras assépticas (FMa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álogo</a:t>
            </a: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fr-FR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ódigo</a:t>
            </a: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SP005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8" name="Picture 2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4246719"/>
            <a:ext cx="1662403" cy="1373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2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9575" y="4246719"/>
            <a:ext cx="1661256" cy="1378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Rechteck 11">
            <a:extLst>
              <a:ext uri="{FF2B5EF4-FFF2-40B4-BE49-F238E27FC236}">
                <a16:creationId xmlns:a16="http://schemas.microsoft.com/office/drawing/2014/main" id="{A2E0B0F3-EE31-45E0-AD7D-4C53D0B4BBF6}"/>
              </a:ext>
            </a:extLst>
          </p:cNvPr>
          <p:cNvSpPr/>
          <p:nvPr/>
        </p:nvSpPr>
        <p:spPr>
          <a:xfrm>
            <a:off x="4768071" y="1726696"/>
            <a:ext cx="3872692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SCRIÇÃO</a:t>
            </a:r>
            <a:endParaRPr kumimoji="0" lang="pt-BR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76957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101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LIOMT</vt:lpstr>
      <vt:lpstr>think-cell Folie</vt:lpstr>
      <vt:lpstr>Redução do desvio de fluxo produt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减少产品灌装流量偏差</dc:title>
  <dc:creator>Gouriou, Lydie</dc:creator>
  <cp:lastModifiedBy>Sorega, Dan</cp:lastModifiedBy>
  <cp:revision>6</cp:revision>
  <dcterms:created xsi:type="dcterms:W3CDTF">2014-07-21T08:52:21Z</dcterms:created>
  <dcterms:modified xsi:type="dcterms:W3CDTF">2021-03-05T15:19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08-19T12:48:56.4521243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6T11:02:42.835679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6T11:02:42.841679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